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7556500" cy="10693400"/>
  <p:notesSz cx="6858000" cy="9144000"/>
  <p:embeddedFontLst>
    <p:embeddedFont>
      <p:font typeface="Manrope" pitchFamily="2" charset="0"/>
      <p:regular r:id="rId3"/>
      <p:bold r:id="rId4"/>
    </p:embeddedFont>
    <p:embeddedFont>
      <p:font typeface="Manrope Light" pitchFamily="2" charset="0"/>
      <p:regular r:id="rId5"/>
    </p:embeddedFont>
    <p:embeddedFont>
      <p:font typeface="Mrs Saint Delafield" panose="02000000000000000000" pitchFamily="2" charset="0"/>
      <p:regular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BF5"/>
    <a:srgbClr val="FFB13F"/>
    <a:srgbClr val="FFB84F"/>
    <a:srgbClr val="FFBF61"/>
    <a:srgbClr val="FFE6C1"/>
    <a:srgbClr val="FAF9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0" autoAdjust="0"/>
  </p:normalViewPr>
  <p:slideViewPr>
    <p:cSldViewPr>
      <p:cViewPr varScale="1">
        <p:scale>
          <a:sx n="68" d="100"/>
          <a:sy n="68" d="100"/>
        </p:scale>
        <p:origin x="2208" y="13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1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">
            <a:extLst>
              <a:ext uri="{FF2B5EF4-FFF2-40B4-BE49-F238E27FC236}">
                <a16:creationId xmlns:a16="http://schemas.microsoft.com/office/drawing/2014/main" id="{E614D3FD-FCD1-6EB1-FAC8-D5D60A8EABE0}"/>
              </a:ext>
            </a:extLst>
          </p:cNvPr>
          <p:cNvGrpSpPr/>
          <p:nvPr/>
        </p:nvGrpSpPr>
        <p:grpSpPr>
          <a:xfrm>
            <a:off x="-1256721" y="-1759564"/>
            <a:ext cx="8060721" cy="12700401"/>
            <a:chOff x="-1256721" y="-1759564"/>
            <a:chExt cx="8060721" cy="12700401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1836B9F-5597-61BD-8673-4C2322C693E4}"/>
                </a:ext>
              </a:extLst>
            </p:cNvPr>
            <p:cNvSpPr/>
            <p:nvPr/>
          </p:nvSpPr>
          <p:spPr>
            <a:xfrm rot="1795785">
              <a:off x="-1256721" y="-1759564"/>
              <a:ext cx="5316126" cy="6498939"/>
            </a:xfrm>
            <a:custGeom>
              <a:avLst/>
              <a:gdLst>
                <a:gd name="connsiteX0" fmla="*/ 700237 w 5316126"/>
                <a:gd name="connsiteY0" fmla="*/ 2657443 h 6498939"/>
                <a:gd name="connsiteX1" fmla="*/ 5316126 w 5316126"/>
                <a:gd name="connsiteY1" fmla="*/ 0 h 6498939"/>
                <a:gd name="connsiteX2" fmla="*/ 5316126 w 5316126"/>
                <a:gd name="connsiteY2" fmla="*/ 6498939 h 6498939"/>
                <a:gd name="connsiteX3" fmla="*/ 2911850 w 5316126"/>
                <a:gd name="connsiteY3" fmla="*/ 6498939 h 6498939"/>
                <a:gd name="connsiteX4" fmla="*/ 0 w 5316126"/>
                <a:gd name="connsiteY4" fmla="*/ 1810791 h 6498939"/>
                <a:gd name="connsiteX5" fmla="*/ 52496 w 5316126"/>
                <a:gd name="connsiteY5" fmla="*/ 1901975 h 6498939"/>
                <a:gd name="connsiteX6" fmla="*/ 0 w 5316126"/>
                <a:gd name="connsiteY6" fmla="*/ 1932198 h 6498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16126" h="6498939">
                  <a:moveTo>
                    <a:pt x="700237" y="2657443"/>
                  </a:moveTo>
                  <a:lnTo>
                    <a:pt x="5316126" y="0"/>
                  </a:lnTo>
                  <a:lnTo>
                    <a:pt x="5316126" y="6498939"/>
                  </a:lnTo>
                  <a:lnTo>
                    <a:pt x="2911850" y="6498939"/>
                  </a:lnTo>
                  <a:close/>
                  <a:moveTo>
                    <a:pt x="0" y="1810791"/>
                  </a:moveTo>
                  <a:lnTo>
                    <a:pt x="52496" y="1901975"/>
                  </a:lnTo>
                  <a:lnTo>
                    <a:pt x="0" y="1932198"/>
                  </a:lnTo>
                  <a:close/>
                </a:path>
              </a:pathLst>
            </a:custGeom>
            <a:blipFill dpi="0" rotWithShape="1"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 wrap="square">
              <a:noAutofit/>
            </a:bodyPr>
            <a:lstStyle/>
            <a:p>
              <a:endParaRPr lang="en-US" dirty="0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8A9C87A-E38E-0186-E597-E5F92ED2359B}"/>
                </a:ext>
              </a:extLst>
            </p:cNvPr>
            <p:cNvGrpSpPr/>
            <p:nvPr/>
          </p:nvGrpSpPr>
          <p:grpSpPr>
            <a:xfrm>
              <a:off x="-177137" y="8895445"/>
              <a:ext cx="2179060" cy="2045392"/>
              <a:chOff x="-177137" y="8895445"/>
              <a:chExt cx="2179060" cy="2045392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BE3CCF1C-323A-AB57-39F7-3F00821A3993}"/>
                  </a:ext>
                </a:extLst>
              </p:cNvPr>
              <p:cNvSpPr/>
              <p:nvPr/>
            </p:nvSpPr>
            <p:spPr>
              <a:xfrm rot="17293966">
                <a:off x="27107" y="9011746"/>
                <a:ext cx="1724847" cy="2133336"/>
              </a:xfrm>
              <a:custGeom>
                <a:avLst/>
                <a:gdLst>
                  <a:gd name="connsiteX0" fmla="*/ 1671248 w 1724847"/>
                  <a:gd name="connsiteY0" fmla="*/ 588333 h 2133336"/>
                  <a:gd name="connsiteX1" fmla="*/ 1724847 w 1724847"/>
                  <a:gd name="connsiteY1" fmla="*/ 942852 h 2133336"/>
                  <a:gd name="connsiteX2" fmla="*/ 654558 w 1724847"/>
                  <a:gd name="connsiteY2" fmla="*/ 2128880 h 2133336"/>
                  <a:gd name="connsiteX3" fmla="*/ 566308 w 1724847"/>
                  <a:gd name="connsiteY3" fmla="*/ 2133336 h 2133336"/>
                  <a:gd name="connsiteX4" fmla="*/ 0 w 1724847"/>
                  <a:gd name="connsiteY4" fmla="*/ 414215 h 2133336"/>
                  <a:gd name="connsiteX5" fmla="*/ 1257419 w 1724847"/>
                  <a:gd name="connsiteY5" fmla="*/ 0 h 2133336"/>
                  <a:gd name="connsiteX6" fmla="*/ 1334261 w 1724847"/>
                  <a:gd name="connsiteY6" fmla="*/ 60376 h 2133336"/>
                  <a:gd name="connsiteX7" fmla="*/ 1631159 w 1724847"/>
                  <a:gd name="connsiteY7" fmla="*/ 478800 h 2133336"/>
                  <a:gd name="connsiteX8" fmla="*/ 1671248 w 1724847"/>
                  <a:gd name="connsiteY8" fmla="*/ 588333 h 213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4847" h="2133336">
                    <a:moveTo>
                      <a:pt x="1671248" y="588333"/>
                    </a:moveTo>
                    <a:cubicBezTo>
                      <a:pt x="1706082" y="700325"/>
                      <a:pt x="1724846" y="819398"/>
                      <a:pt x="1724847" y="942852"/>
                    </a:cubicBezTo>
                    <a:cubicBezTo>
                      <a:pt x="1724846" y="1560127"/>
                      <a:pt x="1255724" y="2067829"/>
                      <a:pt x="654558" y="2128880"/>
                    </a:cubicBezTo>
                    <a:lnTo>
                      <a:pt x="566308" y="2133336"/>
                    </a:lnTo>
                    <a:lnTo>
                      <a:pt x="0" y="414215"/>
                    </a:lnTo>
                    <a:lnTo>
                      <a:pt x="1257419" y="0"/>
                    </a:lnTo>
                    <a:lnTo>
                      <a:pt x="1334261" y="60376"/>
                    </a:lnTo>
                    <a:cubicBezTo>
                      <a:pt x="1461291" y="175832"/>
                      <a:pt x="1563290" y="318341"/>
                      <a:pt x="1631159" y="478800"/>
                    </a:cubicBezTo>
                    <a:cubicBezTo>
                      <a:pt x="1646241" y="514458"/>
                      <a:pt x="1659637" y="551002"/>
                      <a:pt x="1671248" y="588333"/>
                    </a:cubicBezTo>
                    <a:close/>
                  </a:path>
                </a:pathLst>
              </a:custGeom>
              <a:solidFill>
                <a:srgbClr val="F7960B">
                  <a:alpha val="14902"/>
                </a:srgbClr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0"/>
              <p:cNvSpPr/>
              <p:nvPr/>
            </p:nvSpPr>
            <p:spPr>
              <a:xfrm rot="17293966">
                <a:off x="1609820" y="8895445"/>
                <a:ext cx="392103" cy="392103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7960B"/>
              </a:solid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CEEB860-5237-F3C4-98DC-2833BB3F2C38}"/>
                </a:ext>
              </a:extLst>
            </p:cNvPr>
            <p:cNvGrpSpPr/>
            <p:nvPr/>
          </p:nvGrpSpPr>
          <p:grpSpPr>
            <a:xfrm>
              <a:off x="3153454" y="2611413"/>
              <a:ext cx="3650546" cy="5540086"/>
              <a:chOff x="3153454" y="2611413"/>
              <a:chExt cx="3650546" cy="5540086"/>
            </a:xfrm>
          </p:grpSpPr>
          <p:sp>
            <p:nvSpPr>
              <p:cNvPr id="3" name="TextBox 3"/>
              <p:cNvSpPr txBox="1"/>
              <p:nvPr/>
            </p:nvSpPr>
            <p:spPr>
              <a:xfrm>
                <a:off x="5513873" y="6822635"/>
                <a:ext cx="1290127" cy="16844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000" b="1" u="none" strike="noStrike" dirty="0">
                    <a:solidFill>
                      <a:srgbClr val="000000"/>
                    </a:solidFill>
                    <a:latin typeface="Manrope" pitchFamily="2" charset="0"/>
                  </a:rPr>
                  <a:t>Regards,</a:t>
                </a:r>
              </a:p>
            </p:txBody>
          </p:sp>
          <p:sp>
            <p:nvSpPr>
              <p:cNvPr id="4" name="TextBox 4"/>
              <p:cNvSpPr txBox="1"/>
              <p:nvPr/>
            </p:nvSpPr>
            <p:spPr>
              <a:xfrm>
                <a:off x="5191087" y="7983055"/>
                <a:ext cx="1612913" cy="16844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000" b="1" u="none" strike="noStrike" dirty="0">
                    <a:solidFill>
                      <a:srgbClr val="000000"/>
                    </a:solidFill>
                    <a:latin typeface="Manrope" pitchFamily="2" charset="0"/>
                  </a:rPr>
                  <a:t>Caleb Hawthorne</a:t>
                </a:r>
              </a:p>
            </p:txBody>
          </p:sp>
          <p:sp>
            <p:nvSpPr>
              <p:cNvPr id="5" name="TextBox 5"/>
              <p:cNvSpPr txBox="1"/>
              <p:nvPr/>
            </p:nvSpPr>
            <p:spPr>
              <a:xfrm rot="21299821">
                <a:off x="5474361" y="6988819"/>
                <a:ext cx="1286716" cy="104067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9084"/>
                  </a:lnSpc>
                </a:pPr>
                <a:r>
                  <a:rPr lang="en-US" sz="5899" spc="-235" dirty="0">
                    <a:solidFill>
                      <a:srgbClr val="000000"/>
                    </a:solidFill>
                    <a:latin typeface="Mrs Saint Delafield"/>
                  </a:rPr>
                  <a:t>Caleb </a:t>
                </a: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3153454" y="2611413"/>
                <a:ext cx="1513287" cy="16844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00"/>
                  </a:lnSpc>
                </a:pPr>
                <a:r>
                  <a:rPr lang="en-US" sz="1000" b="1" dirty="0">
                    <a:solidFill>
                      <a:srgbClr val="000000"/>
                    </a:solidFill>
                    <a:latin typeface="Manrope" pitchFamily="2" charset="0"/>
                  </a:rPr>
                  <a:t>Dear Juliana Silva,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3153454" y="2892790"/>
                <a:ext cx="3587449" cy="10050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just">
                  <a:lnSpc>
                    <a:spcPts val="1620"/>
                  </a:lnSpc>
                </a:pPr>
                <a:r>
                  <a:rPr lang="en-US" sz="900" spc="45" dirty="0">
                    <a:solidFill>
                      <a:srgbClr val="000000"/>
                    </a:solidFill>
                    <a:latin typeface="Manrope Light" pitchFamily="2" charset="0"/>
                  </a:rPr>
                  <a:t>A letterhead template is a ready-to-use formal document containing information about your company, with space for a personalized message. These assist in aligning your brand with all correspondence between potential customers, vendors, buyers, and clients.</a:t>
                </a:r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3153454" y="4010742"/>
                <a:ext cx="3587449" cy="121020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just">
                  <a:lnSpc>
                    <a:spcPts val="1620"/>
                  </a:lnSpc>
                  <a:spcBef>
                    <a:spcPct val="0"/>
                  </a:spcBef>
                </a:pPr>
                <a:r>
                  <a:rPr lang="en-US" sz="900" u="none" strike="noStrike" spc="45" dirty="0">
                    <a:solidFill>
                      <a:srgbClr val="000000"/>
                    </a:solidFill>
                    <a:latin typeface="Manrope Light" pitchFamily="2" charset="0"/>
                  </a:rPr>
                  <a:t>Letterheads contain information about the company or organization in the form of a header – typically located at the top of the page. The title provides a brief understanding of the company and what they stand for. The most common elements to add to a letterhead are the company’s name, address, logo, and background picture or pattern.</a:t>
                </a:r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3153454" y="5333877"/>
                <a:ext cx="3587449" cy="121020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just">
                  <a:lnSpc>
                    <a:spcPts val="1620"/>
                  </a:lnSpc>
                  <a:spcBef>
                    <a:spcPct val="0"/>
                  </a:spcBef>
                </a:pPr>
                <a:r>
                  <a:rPr lang="en-US" sz="900" u="none" strike="noStrike" spc="45" dirty="0">
                    <a:solidFill>
                      <a:srgbClr val="000000"/>
                    </a:solidFill>
                    <a:latin typeface="Manrope Light" pitchFamily="2" charset="0"/>
                  </a:rPr>
                  <a:t>The term "letterhead" is often used to refer to the whole sheet imprinted with such a heading. Many companies and</a:t>
                </a:r>
                <a:r>
                  <a:rPr lang="en-US" sz="900" spc="45" dirty="0">
                    <a:solidFill>
                      <a:srgbClr val="000000"/>
                    </a:solidFill>
                    <a:latin typeface="Manrope Light" pitchFamily="2" charset="0"/>
                  </a:rPr>
                  <a:t> </a:t>
                </a:r>
                <a:r>
                  <a:rPr lang="en-US" sz="900" u="none" strike="noStrike" spc="45" dirty="0">
                    <a:solidFill>
                      <a:srgbClr val="000000"/>
                    </a:solidFill>
                    <a:latin typeface="Manrope Light" pitchFamily="2" charset="0"/>
                  </a:rPr>
                  <a:t>individuals prefer to create a letterhead template in a word processor or other software application. This generally includes the same information as pre-printed stationery but without the additional costs involved. 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A5F098E-EF5A-AC30-F7DD-EA6EFCBFD845}"/>
                </a:ext>
              </a:extLst>
            </p:cNvPr>
            <p:cNvGrpSpPr/>
            <p:nvPr/>
          </p:nvGrpSpPr>
          <p:grpSpPr>
            <a:xfrm>
              <a:off x="692904" y="2639988"/>
              <a:ext cx="2317578" cy="2378376"/>
              <a:chOff x="692904" y="2639988"/>
              <a:chExt cx="2317578" cy="2378376"/>
            </a:xfrm>
          </p:grpSpPr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9A2DF1A2-E1DD-C90F-3E25-FD5EA43715B8}"/>
                  </a:ext>
                </a:extLst>
              </p:cNvPr>
              <p:cNvGrpSpPr/>
              <p:nvPr/>
            </p:nvGrpSpPr>
            <p:grpSpPr>
              <a:xfrm>
                <a:off x="692904" y="2639988"/>
                <a:ext cx="2317578" cy="964894"/>
                <a:chOff x="692904" y="2639988"/>
                <a:chExt cx="2317578" cy="964894"/>
              </a:xfrm>
            </p:grpSpPr>
            <p:sp>
              <p:nvSpPr>
                <p:cNvPr id="24" name="TextBox 24"/>
                <p:cNvSpPr txBox="1"/>
                <p:nvPr/>
              </p:nvSpPr>
              <p:spPr>
                <a:xfrm>
                  <a:off x="692904" y="2666405"/>
                  <a:ext cx="2317578" cy="18176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700"/>
                    </a:lnSpc>
                  </a:pPr>
                  <a:r>
                    <a:rPr lang="en-US" sz="1000" dirty="0">
                      <a:solidFill>
                        <a:srgbClr val="000000"/>
                      </a:solidFill>
                      <a:latin typeface="Manrope"/>
                    </a:rPr>
                    <a:t>From</a:t>
                  </a:r>
                </a:p>
              </p:txBody>
            </p:sp>
            <p:sp>
              <p:nvSpPr>
                <p:cNvPr id="25" name="TextBox 25"/>
                <p:cNvSpPr txBox="1"/>
                <p:nvPr/>
              </p:nvSpPr>
              <p:spPr>
                <a:xfrm>
                  <a:off x="692904" y="3449455"/>
                  <a:ext cx="1916895" cy="1554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dirty="0">
                      <a:solidFill>
                        <a:srgbClr val="000000"/>
                      </a:solidFill>
                      <a:latin typeface="Manrope Light" pitchFamily="2" charset="0"/>
                    </a:rPr>
                    <a:t>123 Anywhere St., Any City, ST 12345</a:t>
                  </a:r>
                </a:p>
              </p:txBody>
            </p:sp>
            <p:sp>
              <p:nvSpPr>
                <p:cNvPr id="26" name="TextBox 26"/>
                <p:cNvSpPr txBox="1"/>
                <p:nvPr/>
              </p:nvSpPr>
              <p:spPr>
                <a:xfrm>
                  <a:off x="692904" y="3270747"/>
                  <a:ext cx="1916895" cy="1554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dirty="0">
                      <a:solidFill>
                        <a:srgbClr val="000000"/>
                      </a:solidFill>
                      <a:latin typeface="Manrope Light" pitchFamily="2" charset="0"/>
                    </a:rPr>
                    <a:t>hello@calebhawthorne.com</a:t>
                  </a:r>
                </a:p>
              </p:txBody>
            </p:sp>
            <p:sp>
              <p:nvSpPr>
                <p:cNvPr id="27" name="TextBox 27"/>
                <p:cNvSpPr txBox="1"/>
                <p:nvPr/>
              </p:nvSpPr>
              <p:spPr>
                <a:xfrm>
                  <a:off x="692904" y="3092037"/>
                  <a:ext cx="1916895" cy="1554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dirty="0">
                      <a:solidFill>
                        <a:srgbClr val="000000"/>
                      </a:solidFill>
                      <a:latin typeface="Manrope Light" pitchFamily="2" charset="0"/>
                    </a:rPr>
                    <a:t>+123-456-7890</a:t>
                  </a:r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>
                  <a:off x="692904" y="2639988"/>
                  <a:ext cx="350817" cy="0"/>
                </a:xfrm>
                <a:prstGeom prst="line">
                  <a:avLst/>
                </a:prstGeom>
                <a:ln w="25400" cap="flat">
                  <a:solidFill>
                    <a:srgbClr val="F7960B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692904" y="2871456"/>
                  <a:ext cx="2317578" cy="19729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700"/>
                    </a:lnSpc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Manrope" pitchFamily="2" charset="0"/>
                    </a:rPr>
                    <a:t>Caleb Hawthorne</a:t>
                  </a: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A0AFD706-FFA8-F5F2-4B83-DFDEECF05DF0}"/>
                  </a:ext>
                </a:extLst>
              </p:cNvPr>
              <p:cNvGrpSpPr/>
              <p:nvPr/>
            </p:nvGrpSpPr>
            <p:grpSpPr>
              <a:xfrm>
                <a:off x="692904" y="4053470"/>
                <a:ext cx="2317578" cy="964894"/>
                <a:chOff x="692904" y="4053470"/>
                <a:chExt cx="2317578" cy="964894"/>
              </a:xfrm>
            </p:grpSpPr>
            <p:sp>
              <p:nvSpPr>
                <p:cNvPr id="31" name="TextBox 31"/>
                <p:cNvSpPr txBox="1"/>
                <p:nvPr/>
              </p:nvSpPr>
              <p:spPr>
                <a:xfrm>
                  <a:off x="692904" y="4079887"/>
                  <a:ext cx="2317578" cy="18176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700"/>
                    </a:lnSpc>
                  </a:pPr>
                  <a:r>
                    <a:rPr lang="en-US" sz="1000" dirty="0">
                      <a:solidFill>
                        <a:srgbClr val="000000"/>
                      </a:solidFill>
                      <a:latin typeface="Manrope"/>
                    </a:rPr>
                    <a:t>To</a:t>
                  </a:r>
                </a:p>
              </p:txBody>
            </p:sp>
            <p:sp>
              <p:nvSpPr>
                <p:cNvPr id="32" name="TextBox 32"/>
                <p:cNvSpPr txBox="1"/>
                <p:nvPr/>
              </p:nvSpPr>
              <p:spPr>
                <a:xfrm>
                  <a:off x="692904" y="4862937"/>
                  <a:ext cx="1916895" cy="1554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dirty="0">
                      <a:solidFill>
                        <a:srgbClr val="000000"/>
                      </a:solidFill>
                      <a:latin typeface="Manrope Light" pitchFamily="2" charset="0"/>
                    </a:rPr>
                    <a:t>123 Anywhere St., Any City, ST 12345</a:t>
                  </a:r>
                </a:p>
              </p:txBody>
            </p:sp>
            <p:sp>
              <p:nvSpPr>
                <p:cNvPr id="33" name="TextBox 33"/>
                <p:cNvSpPr txBox="1"/>
                <p:nvPr/>
              </p:nvSpPr>
              <p:spPr>
                <a:xfrm>
                  <a:off x="692904" y="4684229"/>
                  <a:ext cx="1916895" cy="1554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dirty="0">
                      <a:solidFill>
                        <a:srgbClr val="000000"/>
                      </a:solidFill>
                      <a:latin typeface="Manrope Light" pitchFamily="2" charset="0"/>
                    </a:rPr>
                    <a:t>hello@julianasilva.com</a:t>
                  </a:r>
                </a:p>
              </p:txBody>
            </p:sp>
            <p:sp>
              <p:nvSpPr>
                <p:cNvPr id="34" name="TextBox 34"/>
                <p:cNvSpPr txBox="1"/>
                <p:nvPr/>
              </p:nvSpPr>
              <p:spPr>
                <a:xfrm>
                  <a:off x="692904" y="4505519"/>
                  <a:ext cx="1916895" cy="1554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dirty="0">
                      <a:solidFill>
                        <a:srgbClr val="000000"/>
                      </a:solidFill>
                      <a:latin typeface="Manrope Light" pitchFamily="2" charset="0"/>
                    </a:rPr>
                    <a:t>+123-456-7890</a:t>
                  </a:r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>
                  <a:off x="692904" y="4053470"/>
                  <a:ext cx="350817" cy="0"/>
                </a:xfrm>
                <a:prstGeom prst="line">
                  <a:avLst/>
                </a:prstGeom>
                <a:ln w="25400" cap="flat">
                  <a:solidFill>
                    <a:srgbClr val="F7960B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TextBox 36"/>
                <p:cNvSpPr txBox="1"/>
                <p:nvPr/>
              </p:nvSpPr>
              <p:spPr>
                <a:xfrm>
                  <a:off x="692904" y="4284938"/>
                  <a:ext cx="2317578" cy="19729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700"/>
                    </a:lnSpc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Manrope" pitchFamily="2" charset="0"/>
                    </a:rPr>
                    <a:t>Juliana Silva</a:t>
                  </a:r>
                </a:p>
              </p:txBody>
            </p:sp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174E41D-DE02-837D-B52B-DEEDFA5CEADE}"/>
                </a:ext>
              </a:extLst>
            </p:cNvPr>
            <p:cNvGrpSpPr/>
            <p:nvPr/>
          </p:nvGrpSpPr>
          <p:grpSpPr>
            <a:xfrm>
              <a:off x="5655235" y="989871"/>
              <a:ext cx="1085669" cy="525390"/>
              <a:chOff x="5655235" y="989871"/>
              <a:chExt cx="1085669" cy="525390"/>
            </a:xfrm>
          </p:grpSpPr>
          <p:sp>
            <p:nvSpPr>
              <p:cNvPr id="12" name="Freeform 12"/>
              <p:cNvSpPr/>
              <p:nvPr/>
            </p:nvSpPr>
            <p:spPr>
              <a:xfrm>
                <a:off x="5655235" y="989871"/>
                <a:ext cx="215521" cy="215521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7960B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5911850" y="992032"/>
                <a:ext cx="829054" cy="422103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algn="r">
                  <a:lnSpc>
                    <a:spcPts val="1680"/>
                  </a:lnSpc>
                </a:pPr>
                <a:r>
                  <a:rPr lang="en-US" sz="1200" b="1" dirty="0">
                    <a:solidFill>
                      <a:srgbClr val="000000"/>
                    </a:solidFill>
                    <a:latin typeface="Manrope" pitchFamily="2" charset="0"/>
                  </a:rPr>
                  <a:t>August 30, 2022</a:t>
                </a:r>
              </a:p>
            </p:txBody>
          </p:sp>
          <p:sp>
            <p:nvSpPr>
              <p:cNvPr id="15" name="AutoShape 15"/>
              <p:cNvSpPr/>
              <p:nvPr/>
            </p:nvSpPr>
            <p:spPr>
              <a:xfrm>
                <a:off x="6390087" y="1515261"/>
                <a:ext cx="350817" cy="0"/>
              </a:xfrm>
              <a:prstGeom prst="line">
                <a:avLst/>
              </a:prstGeom>
              <a:ln w="19050" cap="flat">
                <a:solidFill>
                  <a:srgbClr val="F7960B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22" name="TemplateLAB"/>
            <p:cNvSpPr/>
            <p:nvPr/>
          </p:nvSpPr>
          <p:spPr>
            <a:xfrm>
              <a:off x="6057209" y="10060992"/>
              <a:ext cx="746791" cy="123221"/>
            </a:xfrm>
            <a:custGeom>
              <a:avLst/>
              <a:gdLst/>
              <a:ahLst/>
              <a:cxnLst/>
              <a:rect l="l" t="t" r="r" b="b"/>
              <a:pathLst>
                <a:path w="746791" h="123221">
                  <a:moveTo>
                    <a:pt x="0" y="0"/>
                  </a:moveTo>
                  <a:lnTo>
                    <a:pt x="746791" y="0"/>
                  </a:lnTo>
                  <a:lnTo>
                    <a:pt x="746791" y="123220"/>
                  </a:lnTo>
                  <a:lnTo>
                    <a:pt x="0" y="12322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210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anrope</vt:lpstr>
      <vt:lpstr>Arial</vt:lpstr>
      <vt:lpstr>Mrs Saint Delafield</vt:lpstr>
      <vt:lpstr>Manrope Light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of Letterhead Templates</dc:title>
  <dc:creator>Hoang Anh</dc:creator>
  <cp:lastModifiedBy>Hoang Anh</cp:lastModifiedBy>
  <cp:revision>14</cp:revision>
  <dcterms:created xsi:type="dcterms:W3CDTF">2006-08-16T00:00:00Z</dcterms:created>
  <dcterms:modified xsi:type="dcterms:W3CDTF">2024-01-19T04:38:22Z</dcterms:modified>
  <dc:identifier>DAF6MsVQ3tQ</dc:identifier>
</cp:coreProperties>
</file>